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2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63A23-74F0-43E5-7799-D4C71177BF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42">
            <a:extLst>
              <a:ext uri="{FF2B5EF4-FFF2-40B4-BE49-F238E27FC236}">
                <a16:creationId xmlns:a16="http://schemas.microsoft.com/office/drawing/2014/main" id="{C5BCFC50-00E1-0785-CC4F-0EB443C08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Process Slide – Circular Process Diagram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B15DDDE-124A-B639-5C4A-6D08408C064D}"/>
              </a:ext>
            </a:extLst>
          </p:cNvPr>
          <p:cNvGrpSpPr/>
          <p:nvPr/>
        </p:nvGrpSpPr>
        <p:grpSpPr>
          <a:xfrm>
            <a:off x="714375" y="2705100"/>
            <a:ext cx="16859250" cy="6064974"/>
            <a:chOff x="714375" y="2583726"/>
            <a:chExt cx="16859250" cy="606497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D168F99-F72A-AF54-78B5-DA8AA5CFF088}"/>
                </a:ext>
              </a:extLst>
            </p:cNvPr>
            <p:cNvGrpSpPr/>
            <p:nvPr/>
          </p:nvGrpSpPr>
          <p:grpSpPr>
            <a:xfrm>
              <a:off x="6111515" y="2583726"/>
              <a:ext cx="6064972" cy="6064974"/>
              <a:chOff x="6795762" y="3385602"/>
              <a:chExt cx="5885515" cy="5885516"/>
            </a:xfrm>
            <a:solidFill>
              <a:schemeClr val="accent1"/>
            </a:solidFill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CAE12BE0-5E77-AD00-FDFB-4E36ADF194D8}"/>
                  </a:ext>
                </a:extLst>
              </p:cNvPr>
              <p:cNvGrpSpPr/>
              <p:nvPr/>
            </p:nvGrpSpPr>
            <p:grpSpPr>
              <a:xfrm>
                <a:off x="6795762" y="3385602"/>
                <a:ext cx="3860094" cy="2886287"/>
                <a:chOff x="4657725" y="946151"/>
                <a:chExt cx="2441575" cy="1825625"/>
              </a:xfrm>
              <a:grpFill/>
            </p:grpSpPr>
            <p:sp>
              <p:nvSpPr>
                <p:cNvPr id="40" name="Freeform 13">
                  <a:extLst>
                    <a:ext uri="{FF2B5EF4-FFF2-40B4-BE49-F238E27FC236}">
                      <a16:creationId xmlns:a16="http://schemas.microsoft.com/office/drawing/2014/main" id="{F5E819DF-558F-E27F-48F9-417B74ACA7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3125" y="2046288"/>
                  <a:ext cx="1146175" cy="593725"/>
                </a:xfrm>
                <a:custGeom>
                  <a:avLst/>
                  <a:gdLst>
                    <a:gd name="T0" fmla="*/ 849 w 904"/>
                    <a:gd name="T1" fmla="*/ 0 h 468"/>
                    <a:gd name="T2" fmla="*/ 873 w 904"/>
                    <a:gd name="T3" fmla="*/ 58 h 468"/>
                    <a:gd name="T4" fmla="*/ 507 w 904"/>
                    <a:gd name="T5" fmla="*/ 436 h 468"/>
                    <a:gd name="T6" fmla="*/ 396 w 904"/>
                    <a:gd name="T7" fmla="*/ 436 h 468"/>
                    <a:gd name="T8" fmla="*/ 30 w 904"/>
                    <a:gd name="T9" fmla="*/ 58 h 468"/>
                    <a:gd name="T10" fmla="*/ 55 w 904"/>
                    <a:gd name="T11" fmla="*/ 0 h 468"/>
                    <a:gd name="T12" fmla="*/ 849 w 904"/>
                    <a:gd name="T13" fmla="*/ 0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4" h="468">
                      <a:moveTo>
                        <a:pt x="849" y="0"/>
                      </a:moveTo>
                      <a:cubicBezTo>
                        <a:pt x="893" y="0"/>
                        <a:pt x="904" y="26"/>
                        <a:pt x="873" y="58"/>
                      </a:cubicBezTo>
                      <a:cubicBezTo>
                        <a:pt x="507" y="436"/>
                        <a:pt x="507" y="436"/>
                        <a:pt x="507" y="436"/>
                      </a:cubicBezTo>
                      <a:cubicBezTo>
                        <a:pt x="477" y="468"/>
                        <a:pt x="427" y="468"/>
                        <a:pt x="396" y="436"/>
                      </a:cubicBezTo>
                      <a:cubicBezTo>
                        <a:pt x="30" y="58"/>
                        <a:pt x="30" y="58"/>
                        <a:pt x="30" y="58"/>
                      </a:cubicBezTo>
                      <a:cubicBezTo>
                        <a:pt x="0" y="26"/>
                        <a:pt x="11" y="0"/>
                        <a:pt x="55" y="0"/>
                      </a:cubicBezTo>
                      <a:lnTo>
                        <a:pt x="84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Freeform 14">
                  <a:extLst>
                    <a:ext uri="{FF2B5EF4-FFF2-40B4-BE49-F238E27FC236}">
                      <a16:creationId xmlns:a16="http://schemas.microsoft.com/office/drawing/2014/main" id="{ECA5D862-AF7B-E560-DDE0-1C0959BDCD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7725" y="946151"/>
                  <a:ext cx="2151063" cy="1825625"/>
                </a:xfrm>
                <a:custGeom>
                  <a:avLst/>
                  <a:gdLst>
                    <a:gd name="T0" fmla="*/ 848 w 1696"/>
                    <a:gd name="T1" fmla="*/ 0 h 1440"/>
                    <a:gd name="T2" fmla="*/ 0 w 1696"/>
                    <a:gd name="T3" fmla="*/ 848 h 1440"/>
                    <a:gd name="T4" fmla="*/ 241 w 1696"/>
                    <a:gd name="T5" fmla="*/ 1440 h 1440"/>
                    <a:gd name="T6" fmla="*/ 718 w 1696"/>
                    <a:gd name="T7" fmla="*/ 1209 h 1440"/>
                    <a:gd name="T8" fmla="*/ 464 w 1696"/>
                    <a:gd name="T9" fmla="*/ 848 h 1440"/>
                    <a:gd name="T10" fmla="*/ 848 w 1696"/>
                    <a:gd name="T11" fmla="*/ 464 h 1440"/>
                    <a:gd name="T12" fmla="*/ 1232 w 1696"/>
                    <a:gd name="T13" fmla="*/ 848 h 1440"/>
                    <a:gd name="T14" fmla="*/ 1213 w 1696"/>
                    <a:gd name="T15" fmla="*/ 966 h 1440"/>
                    <a:gd name="T16" fmla="*/ 1293 w 1696"/>
                    <a:gd name="T17" fmla="*/ 966 h 1440"/>
                    <a:gd name="T18" fmla="*/ 1293 w 1696"/>
                    <a:gd name="T19" fmla="*/ 1062 h 1440"/>
                    <a:gd name="T20" fmla="*/ 1669 w 1696"/>
                    <a:gd name="T21" fmla="*/ 1062 h 1440"/>
                    <a:gd name="T22" fmla="*/ 1696 w 1696"/>
                    <a:gd name="T23" fmla="*/ 848 h 1440"/>
                    <a:gd name="T24" fmla="*/ 848 w 1696"/>
                    <a:gd name="T25" fmla="*/ 0 h 14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6" h="1440">
                      <a:moveTo>
                        <a:pt x="848" y="0"/>
                      </a:moveTo>
                      <a:cubicBezTo>
                        <a:pt x="380" y="0"/>
                        <a:pt x="0" y="380"/>
                        <a:pt x="0" y="848"/>
                      </a:cubicBezTo>
                      <a:cubicBezTo>
                        <a:pt x="0" y="1078"/>
                        <a:pt x="92" y="1287"/>
                        <a:pt x="241" y="1440"/>
                      </a:cubicBezTo>
                      <a:cubicBezTo>
                        <a:pt x="374" y="1315"/>
                        <a:pt x="540" y="1235"/>
                        <a:pt x="718" y="1209"/>
                      </a:cubicBezTo>
                      <a:cubicBezTo>
                        <a:pt x="570" y="1156"/>
                        <a:pt x="464" y="1014"/>
                        <a:pt x="464" y="848"/>
                      </a:cubicBezTo>
                      <a:cubicBezTo>
                        <a:pt x="464" y="636"/>
                        <a:pt x="636" y="464"/>
                        <a:pt x="848" y="464"/>
                      </a:cubicBezTo>
                      <a:cubicBezTo>
                        <a:pt x="1060" y="464"/>
                        <a:pt x="1232" y="636"/>
                        <a:pt x="1232" y="848"/>
                      </a:cubicBezTo>
                      <a:cubicBezTo>
                        <a:pt x="1232" y="889"/>
                        <a:pt x="1225" y="929"/>
                        <a:pt x="1213" y="966"/>
                      </a:cubicBezTo>
                      <a:cubicBezTo>
                        <a:pt x="1293" y="966"/>
                        <a:pt x="1293" y="966"/>
                        <a:pt x="1293" y="966"/>
                      </a:cubicBezTo>
                      <a:cubicBezTo>
                        <a:pt x="1293" y="1062"/>
                        <a:pt x="1293" y="1062"/>
                        <a:pt x="1293" y="1062"/>
                      </a:cubicBezTo>
                      <a:cubicBezTo>
                        <a:pt x="1669" y="1062"/>
                        <a:pt x="1669" y="1062"/>
                        <a:pt x="1669" y="1062"/>
                      </a:cubicBezTo>
                      <a:cubicBezTo>
                        <a:pt x="1687" y="994"/>
                        <a:pt x="1696" y="922"/>
                        <a:pt x="1696" y="848"/>
                      </a:cubicBezTo>
                      <a:cubicBezTo>
                        <a:pt x="1696" y="380"/>
                        <a:pt x="1316" y="0"/>
                        <a:pt x="84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42C3E70F-4DD2-B669-7C9C-8043A505187A}"/>
                  </a:ext>
                </a:extLst>
              </p:cNvPr>
              <p:cNvGrpSpPr/>
              <p:nvPr/>
            </p:nvGrpSpPr>
            <p:grpSpPr>
              <a:xfrm>
                <a:off x="6795762" y="5458709"/>
                <a:ext cx="2886287" cy="3812409"/>
                <a:chOff x="4657725" y="2257426"/>
                <a:chExt cx="1825625" cy="2411413"/>
              </a:xfrm>
              <a:grpFill/>
            </p:grpSpPr>
            <p:sp>
              <p:nvSpPr>
                <p:cNvPr id="38" name="Freeform 11">
                  <a:extLst>
                    <a:ext uri="{FF2B5EF4-FFF2-40B4-BE49-F238E27FC236}">
                      <a16:creationId xmlns:a16="http://schemas.microsoft.com/office/drawing/2014/main" id="{BA1CCB1D-9FAB-8281-190C-8DAD75E31A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3100" y="2257426"/>
                  <a:ext cx="593725" cy="1146175"/>
                </a:xfrm>
                <a:custGeom>
                  <a:avLst/>
                  <a:gdLst>
                    <a:gd name="T0" fmla="*/ 0 w 468"/>
                    <a:gd name="T1" fmla="*/ 55 h 904"/>
                    <a:gd name="T2" fmla="*/ 57 w 468"/>
                    <a:gd name="T3" fmla="*/ 30 h 904"/>
                    <a:gd name="T4" fmla="*/ 436 w 468"/>
                    <a:gd name="T5" fmla="*/ 397 h 904"/>
                    <a:gd name="T6" fmla="*/ 436 w 468"/>
                    <a:gd name="T7" fmla="*/ 508 h 904"/>
                    <a:gd name="T8" fmla="*/ 57 w 468"/>
                    <a:gd name="T9" fmla="*/ 874 h 904"/>
                    <a:gd name="T10" fmla="*/ 0 w 468"/>
                    <a:gd name="T11" fmla="*/ 849 h 904"/>
                    <a:gd name="T12" fmla="*/ 0 w 468"/>
                    <a:gd name="T13" fmla="*/ 55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68" h="904">
                      <a:moveTo>
                        <a:pt x="0" y="55"/>
                      </a:moveTo>
                      <a:cubicBezTo>
                        <a:pt x="0" y="11"/>
                        <a:pt x="26" y="0"/>
                        <a:pt x="57" y="30"/>
                      </a:cubicBezTo>
                      <a:cubicBezTo>
                        <a:pt x="436" y="397"/>
                        <a:pt x="436" y="397"/>
                        <a:pt x="436" y="397"/>
                      </a:cubicBezTo>
                      <a:cubicBezTo>
                        <a:pt x="468" y="427"/>
                        <a:pt x="468" y="477"/>
                        <a:pt x="436" y="508"/>
                      </a:cubicBezTo>
                      <a:cubicBezTo>
                        <a:pt x="57" y="874"/>
                        <a:pt x="57" y="874"/>
                        <a:pt x="57" y="874"/>
                      </a:cubicBezTo>
                      <a:cubicBezTo>
                        <a:pt x="26" y="904"/>
                        <a:pt x="0" y="893"/>
                        <a:pt x="0" y="849"/>
                      </a:cubicBez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Freeform 12">
                  <a:extLst>
                    <a:ext uri="{FF2B5EF4-FFF2-40B4-BE49-F238E27FC236}">
                      <a16:creationId xmlns:a16="http://schemas.microsoft.com/office/drawing/2014/main" id="{D95E738C-29DB-9B08-D3A8-2C9B2265E1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7725" y="2517776"/>
                  <a:ext cx="1825625" cy="2151063"/>
                </a:xfrm>
                <a:custGeom>
                  <a:avLst/>
                  <a:gdLst>
                    <a:gd name="T0" fmla="*/ 1209 w 1440"/>
                    <a:gd name="T1" fmla="*/ 978 h 1696"/>
                    <a:gd name="T2" fmla="*/ 848 w 1440"/>
                    <a:gd name="T3" fmla="*/ 1232 h 1696"/>
                    <a:gd name="T4" fmla="*/ 464 w 1440"/>
                    <a:gd name="T5" fmla="*/ 848 h 1696"/>
                    <a:gd name="T6" fmla="*/ 848 w 1440"/>
                    <a:gd name="T7" fmla="*/ 464 h 1696"/>
                    <a:gd name="T8" fmla="*/ 969 w 1440"/>
                    <a:gd name="T9" fmla="*/ 483 h 1696"/>
                    <a:gd name="T10" fmla="*/ 969 w 1440"/>
                    <a:gd name="T11" fmla="*/ 9 h 1696"/>
                    <a:gd name="T12" fmla="*/ 848 w 1440"/>
                    <a:gd name="T13" fmla="*/ 0 h 1696"/>
                    <a:gd name="T14" fmla="*/ 0 w 1440"/>
                    <a:gd name="T15" fmla="*/ 848 h 1696"/>
                    <a:gd name="T16" fmla="*/ 848 w 1440"/>
                    <a:gd name="T17" fmla="*/ 1696 h 1696"/>
                    <a:gd name="T18" fmla="*/ 1440 w 1440"/>
                    <a:gd name="T19" fmla="*/ 1455 h 1696"/>
                    <a:gd name="T20" fmla="*/ 1209 w 1440"/>
                    <a:gd name="T21" fmla="*/ 978 h 1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40" h="1696">
                      <a:moveTo>
                        <a:pt x="1209" y="978"/>
                      </a:moveTo>
                      <a:cubicBezTo>
                        <a:pt x="1156" y="1126"/>
                        <a:pt x="1014" y="1232"/>
                        <a:pt x="848" y="1232"/>
                      </a:cubicBezTo>
                      <a:cubicBezTo>
                        <a:pt x="636" y="1232"/>
                        <a:pt x="464" y="1060"/>
                        <a:pt x="464" y="848"/>
                      </a:cubicBezTo>
                      <a:cubicBezTo>
                        <a:pt x="464" y="636"/>
                        <a:pt x="636" y="464"/>
                        <a:pt x="848" y="464"/>
                      </a:cubicBezTo>
                      <a:cubicBezTo>
                        <a:pt x="890" y="464"/>
                        <a:pt x="931" y="471"/>
                        <a:pt x="969" y="483"/>
                      </a:cubicBezTo>
                      <a:cubicBezTo>
                        <a:pt x="969" y="9"/>
                        <a:pt x="969" y="9"/>
                        <a:pt x="969" y="9"/>
                      </a:cubicBezTo>
                      <a:cubicBezTo>
                        <a:pt x="929" y="3"/>
                        <a:pt x="889" y="0"/>
                        <a:pt x="848" y="0"/>
                      </a:cubicBezTo>
                      <a:cubicBezTo>
                        <a:pt x="380" y="0"/>
                        <a:pt x="0" y="380"/>
                        <a:pt x="0" y="848"/>
                      </a:cubicBezTo>
                      <a:cubicBezTo>
                        <a:pt x="0" y="1316"/>
                        <a:pt x="380" y="1696"/>
                        <a:pt x="848" y="1696"/>
                      </a:cubicBezTo>
                      <a:cubicBezTo>
                        <a:pt x="1078" y="1696"/>
                        <a:pt x="1287" y="1604"/>
                        <a:pt x="1440" y="1455"/>
                      </a:cubicBezTo>
                      <a:cubicBezTo>
                        <a:pt x="1315" y="1322"/>
                        <a:pt x="1235" y="1156"/>
                        <a:pt x="1209" y="97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AEA84F1-5AEB-B828-AB50-C7C26F282F2A}"/>
                  </a:ext>
                </a:extLst>
              </p:cNvPr>
              <p:cNvGrpSpPr/>
              <p:nvPr/>
            </p:nvGrpSpPr>
            <p:grpSpPr>
              <a:xfrm>
                <a:off x="8843770" y="6384830"/>
                <a:ext cx="3837507" cy="2886287"/>
                <a:chOff x="5953125" y="2843213"/>
                <a:chExt cx="2427288" cy="1825625"/>
              </a:xfrm>
              <a:grpFill/>
            </p:grpSpPr>
            <p:sp>
              <p:nvSpPr>
                <p:cNvPr id="36" name="Freeform 9">
                  <a:extLst>
                    <a:ext uri="{FF2B5EF4-FFF2-40B4-BE49-F238E27FC236}">
                      <a16:creationId xmlns:a16="http://schemas.microsoft.com/office/drawing/2014/main" id="{9F4264A3-DE73-02B5-7CE0-8F0CB6083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3125" y="2989263"/>
                  <a:ext cx="1146175" cy="593725"/>
                </a:xfrm>
                <a:custGeom>
                  <a:avLst/>
                  <a:gdLst>
                    <a:gd name="T0" fmla="*/ 55 w 904"/>
                    <a:gd name="T1" fmla="*/ 468 h 468"/>
                    <a:gd name="T2" fmla="*/ 30 w 904"/>
                    <a:gd name="T3" fmla="*/ 411 h 468"/>
                    <a:gd name="T4" fmla="*/ 396 w 904"/>
                    <a:gd name="T5" fmla="*/ 32 h 468"/>
                    <a:gd name="T6" fmla="*/ 507 w 904"/>
                    <a:gd name="T7" fmla="*/ 32 h 468"/>
                    <a:gd name="T8" fmla="*/ 873 w 904"/>
                    <a:gd name="T9" fmla="*/ 411 h 468"/>
                    <a:gd name="T10" fmla="*/ 849 w 904"/>
                    <a:gd name="T11" fmla="*/ 468 h 468"/>
                    <a:gd name="T12" fmla="*/ 55 w 904"/>
                    <a:gd name="T13" fmla="*/ 468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4" h="468">
                      <a:moveTo>
                        <a:pt x="55" y="468"/>
                      </a:moveTo>
                      <a:cubicBezTo>
                        <a:pt x="11" y="468"/>
                        <a:pt x="0" y="442"/>
                        <a:pt x="30" y="411"/>
                      </a:cubicBezTo>
                      <a:cubicBezTo>
                        <a:pt x="396" y="32"/>
                        <a:pt x="396" y="32"/>
                        <a:pt x="396" y="32"/>
                      </a:cubicBezTo>
                      <a:cubicBezTo>
                        <a:pt x="427" y="0"/>
                        <a:pt x="477" y="0"/>
                        <a:pt x="507" y="32"/>
                      </a:cubicBezTo>
                      <a:cubicBezTo>
                        <a:pt x="873" y="411"/>
                        <a:pt x="873" y="411"/>
                        <a:pt x="873" y="411"/>
                      </a:cubicBezTo>
                      <a:cubicBezTo>
                        <a:pt x="904" y="442"/>
                        <a:pt x="893" y="468"/>
                        <a:pt x="849" y="468"/>
                      </a:cubicBezTo>
                      <a:lnTo>
                        <a:pt x="55" y="46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Freeform 10">
                  <a:extLst>
                    <a:ext uri="{FF2B5EF4-FFF2-40B4-BE49-F238E27FC236}">
                      <a16:creationId xmlns:a16="http://schemas.microsoft.com/office/drawing/2014/main" id="{45399E1A-A8D3-A7B4-0AAA-293322A6C7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0938" y="2843213"/>
                  <a:ext cx="2149475" cy="1825625"/>
                </a:xfrm>
                <a:custGeom>
                  <a:avLst/>
                  <a:gdLst>
                    <a:gd name="T0" fmla="*/ 978 w 1696"/>
                    <a:gd name="T1" fmla="*/ 231 h 1440"/>
                    <a:gd name="T2" fmla="*/ 1232 w 1696"/>
                    <a:gd name="T3" fmla="*/ 592 h 1440"/>
                    <a:gd name="T4" fmla="*/ 848 w 1696"/>
                    <a:gd name="T5" fmla="*/ 976 h 1440"/>
                    <a:gd name="T6" fmla="*/ 464 w 1696"/>
                    <a:gd name="T7" fmla="*/ 592 h 1440"/>
                    <a:gd name="T8" fmla="*/ 487 w 1696"/>
                    <a:gd name="T9" fmla="*/ 462 h 1440"/>
                    <a:gd name="T10" fmla="*/ 10 w 1696"/>
                    <a:gd name="T11" fmla="*/ 462 h 1440"/>
                    <a:gd name="T12" fmla="*/ 0 w 1696"/>
                    <a:gd name="T13" fmla="*/ 592 h 1440"/>
                    <a:gd name="T14" fmla="*/ 848 w 1696"/>
                    <a:gd name="T15" fmla="*/ 1440 h 1440"/>
                    <a:gd name="T16" fmla="*/ 1696 w 1696"/>
                    <a:gd name="T17" fmla="*/ 592 h 1440"/>
                    <a:gd name="T18" fmla="*/ 1455 w 1696"/>
                    <a:gd name="T19" fmla="*/ 0 h 1440"/>
                    <a:gd name="T20" fmla="*/ 978 w 1696"/>
                    <a:gd name="T21" fmla="*/ 231 h 14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96" h="1440">
                      <a:moveTo>
                        <a:pt x="978" y="231"/>
                      </a:moveTo>
                      <a:cubicBezTo>
                        <a:pt x="1126" y="284"/>
                        <a:pt x="1232" y="426"/>
                        <a:pt x="1232" y="592"/>
                      </a:cubicBezTo>
                      <a:cubicBezTo>
                        <a:pt x="1232" y="804"/>
                        <a:pt x="1060" y="976"/>
                        <a:pt x="848" y="976"/>
                      </a:cubicBezTo>
                      <a:cubicBezTo>
                        <a:pt x="636" y="976"/>
                        <a:pt x="464" y="804"/>
                        <a:pt x="464" y="592"/>
                      </a:cubicBezTo>
                      <a:cubicBezTo>
                        <a:pt x="464" y="546"/>
                        <a:pt x="472" y="503"/>
                        <a:pt x="487" y="462"/>
                      </a:cubicBezTo>
                      <a:cubicBezTo>
                        <a:pt x="10" y="462"/>
                        <a:pt x="10" y="462"/>
                        <a:pt x="10" y="462"/>
                      </a:cubicBezTo>
                      <a:cubicBezTo>
                        <a:pt x="3" y="504"/>
                        <a:pt x="0" y="548"/>
                        <a:pt x="0" y="592"/>
                      </a:cubicBezTo>
                      <a:cubicBezTo>
                        <a:pt x="0" y="1060"/>
                        <a:pt x="380" y="1440"/>
                        <a:pt x="848" y="1440"/>
                      </a:cubicBezTo>
                      <a:cubicBezTo>
                        <a:pt x="1316" y="1440"/>
                        <a:pt x="1696" y="1060"/>
                        <a:pt x="1696" y="592"/>
                      </a:cubicBezTo>
                      <a:cubicBezTo>
                        <a:pt x="1696" y="362"/>
                        <a:pt x="1604" y="153"/>
                        <a:pt x="1455" y="0"/>
                      </a:cubicBezTo>
                      <a:cubicBezTo>
                        <a:pt x="1322" y="125"/>
                        <a:pt x="1156" y="205"/>
                        <a:pt x="978" y="23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37A90DA-9AAB-E519-D3F6-FD7626D091F7}"/>
                  </a:ext>
                </a:extLst>
              </p:cNvPr>
              <p:cNvGrpSpPr/>
              <p:nvPr/>
            </p:nvGrpSpPr>
            <p:grpSpPr>
              <a:xfrm>
                <a:off x="9794990" y="3385602"/>
                <a:ext cx="2886287" cy="3885193"/>
                <a:chOff x="6554788" y="946151"/>
                <a:chExt cx="1825625" cy="2457450"/>
              </a:xfrm>
              <a:grpFill/>
            </p:grpSpPr>
            <p:sp>
              <p:nvSpPr>
                <p:cNvPr id="34" name="Freeform 7">
                  <a:extLst>
                    <a:ext uri="{FF2B5EF4-FFF2-40B4-BE49-F238E27FC236}">
                      <a16:creationId xmlns:a16="http://schemas.microsoft.com/office/drawing/2014/main" id="{33835CF0-E98A-1815-8E4E-694F769B0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91313" y="2257426"/>
                  <a:ext cx="593725" cy="1146175"/>
                </a:xfrm>
                <a:custGeom>
                  <a:avLst/>
                  <a:gdLst>
                    <a:gd name="T0" fmla="*/ 468 w 468"/>
                    <a:gd name="T1" fmla="*/ 849 h 904"/>
                    <a:gd name="T2" fmla="*/ 410 w 468"/>
                    <a:gd name="T3" fmla="*/ 874 h 904"/>
                    <a:gd name="T4" fmla="*/ 32 w 468"/>
                    <a:gd name="T5" fmla="*/ 508 h 904"/>
                    <a:gd name="T6" fmla="*/ 32 w 468"/>
                    <a:gd name="T7" fmla="*/ 397 h 904"/>
                    <a:gd name="T8" fmla="*/ 410 w 468"/>
                    <a:gd name="T9" fmla="*/ 30 h 904"/>
                    <a:gd name="T10" fmla="*/ 468 w 468"/>
                    <a:gd name="T11" fmla="*/ 55 h 904"/>
                    <a:gd name="T12" fmla="*/ 468 w 468"/>
                    <a:gd name="T13" fmla="*/ 849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68" h="904">
                      <a:moveTo>
                        <a:pt x="468" y="849"/>
                      </a:moveTo>
                      <a:cubicBezTo>
                        <a:pt x="468" y="893"/>
                        <a:pt x="442" y="904"/>
                        <a:pt x="410" y="874"/>
                      </a:cubicBezTo>
                      <a:cubicBezTo>
                        <a:pt x="32" y="508"/>
                        <a:pt x="32" y="508"/>
                        <a:pt x="32" y="508"/>
                      </a:cubicBezTo>
                      <a:cubicBezTo>
                        <a:pt x="0" y="477"/>
                        <a:pt x="0" y="427"/>
                        <a:pt x="32" y="397"/>
                      </a:cubicBezTo>
                      <a:cubicBezTo>
                        <a:pt x="410" y="30"/>
                        <a:pt x="410" y="30"/>
                        <a:pt x="410" y="30"/>
                      </a:cubicBezTo>
                      <a:cubicBezTo>
                        <a:pt x="442" y="0"/>
                        <a:pt x="468" y="11"/>
                        <a:pt x="468" y="55"/>
                      </a:cubicBezTo>
                      <a:lnTo>
                        <a:pt x="468" y="84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8">
                  <a:extLst>
                    <a:ext uri="{FF2B5EF4-FFF2-40B4-BE49-F238E27FC236}">
                      <a16:creationId xmlns:a16="http://schemas.microsoft.com/office/drawing/2014/main" id="{CA37D953-6435-D265-F723-E1E5C0BEA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4788" y="946151"/>
                  <a:ext cx="1825625" cy="2151063"/>
                </a:xfrm>
                <a:custGeom>
                  <a:avLst/>
                  <a:gdLst>
                    <a:gd name="T0" fmla="*/ 592 w 1440"/>
                    <a:gd name="T1" fmla="*/ 0 h 1696"/>
                    <a:gd name="T2" fmla="*/ 0 w 1440"/>
                    <a:gd name="T3" fmla="*/ 241 h 1696"/>
                    <a:gd name="T4" fmla="*/ 231 w 1440"/>
                    <a:gd name="T5" fmla="*/ 718 h 1696"/>
                    <a:gd name="T6" fmla="*/ 592 w 1440"/>
                    <a:gd name="T7" fmla="*/ 464 h 1696"/>
                    <a:gd name="T8" fmla="*/ 976 w 1440"/>
                    <a:gd name="T9" fmla="*/ 848 h 1696"/>
                    <a:gd name="T10" fmla="*/ 592 w 1440"/>
                    <a:gd name="T11" fmla="*/ 1232 h 1696"/>
                    <a:gd name="T12" fmla="*/ 452 w 1440"/>
                    <a:gd name="T13" fmla="*/ 1206 h 1696"/>
                    <a:gd name="T14" fmla="*/ 452 w 1440"/>
                    <a:gd name="T15" fmla="*/ 1300 h 1696"/>
                    <a:gd name="T16" fmla="*/ 389 w 1440"/>
                    <a:gd name="T17" fmla="*/ 1300 h 1696"/>
                    <a:gd name="T18" fmla="*/ 389 w 1440"/>
                    <a:gd name="T19" fmla="*/ 1671 h 1696"/>
                    <a:gd name="T20" fmla="*/ 592 w 1440"/>
                    <a:gd name="T21" fmla="*/ 1696 h 1696"/>
                    <a:gd name="T22" fmla="*/ 1440 w 1440"/>
                    <a:gd name="T23" fmla="*/ 848 h 1696"/>
                    <a:gd name="T24" fmla="*/ 592 w 1440"/>
                    <a:gd name="T25" fmla="*/ 0 h 1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40" h="1696">
                      <a:moveTo>
                        <a:pt x="592" y="0"/>
                      </a:moveTo>
                      <a:cubicBezTo>
                        <a:pt x="362" y="0"/>
                        <a:pt x="153" y="92"/>
                        <a:pt x="0" y="241"/>
                      </a:cubicBezTo>
                      <a:cubicBezTo>
                        <a:pt x="125" y="374"/>
                        <a:pt x="205" y="540"/>
                        <a:pt x="231" y="718"/>
                      </a:cubicBezTo>
                      <a:cubicBezTo>
                        <a:pt x="284" y="570"/>
                        <a:pt x="426" y="464"/>
                        <a:pt x="592" y="464"/>
                      </a:cubicBezTo>
                      <a:cubicBezTo>
                        <a:pt x="804" y="464"/>
                        <a:pt x="976" y="636"/>
                        <a:pt x="976" y="848"/>
                      </a:cubicBezTo>
                      <a:cubicBezTo>
                        <a:pt x="976" y="1060"/>
                        <a:pt x="804" y="1232"/>
                        <a:pt x="592" y="1232"/>
                      </a:cubicBezTo>
                      <a:cubicBezTo>
                        <a:pt x="543" y="1232"/>
                        <a:pt x="495" y="1223"/>
                        <a:pt x="452" y="1206"/>
                      </a:cubicBezTo>
                      <a:cubicBezTo>
                        <a:pt x="452" y="1300"/>
                        <a:pt x="452" y="1300"/>
                        <a:pt x="452" y="1300"/>
                      </a:cubicBezTo>
                      <a:cubicBezTo>
                        <a:pt x="389" y="1300"/>
                        <a:pt x="389" y="1300"/>
                        <a:pt x="389" y="1300"/>
                      </a:cubicBezTo>
                      <a:cubicBezTo>
                        <a:pt x="389" y="1671"/>
                        <a:pt x="389" y="1671"/>
                        <a:pt x="389" y="1671"/>
                      </a:cubicBezTo>
                      <a:cubicBezTo>
                        <a:pt x="454" y="1687"/>
                        <a:pt x="522" y="1696"/>
                        <a:pt x="592" y="1696"/>
                      </a:cubicBezTo>
                      <a:cubicBezTo>
                        <a:pt x="1060" y="1696"/>
                        <a:pt x="1440" y="1316"/>
                        <a:pt x="1440" y="848"/>
                      </a:cubicBezTo>
                      <a:cubicBezTo>
                        <a:pt x="1440" y="380"/>
                        <a:pt x="1060" y="0"/>
                        <a:pt x="592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121731" tIns="60866" rIns="121731" bIns="6086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 dirty="0">
                    <a:latin typeface="Arial" panose="020B0604020202020204" pitchFamily="34" charset="0"/>
                    <a:ea typeface="Lato" panose="020F0502020204030203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7E22117-C619-DDBC-4D16-2E90E59E6DF0}"/>
                </a:ext>
              </a:extLst>
            </p:cNvPr>
            <p:cNvSpPr/>
            <p:nvPr/>
          </p:nvSpPr>
          <p:spPr>
            <a:xfrm>
              <a:off x="12565252" y="2583726"/>
              <a:ext cx="1260000" cy="1260000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</p:spPr>
          <p:txBody>
            <a:bodyPr vert="horz" lIns="36000" tIns="36000" rIns="36000" bIns="36000" rtlCol="0" anchor="ctr"/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28332092-196C-6B18-4A55-DAD058EAA54B}"/>
                </a:ext>
              </a:extLst>
            </p:cNvPr>
            <p:cNvSpPr/>
            <p:nvPr/>
          </p:nvSpPr>
          <p:spPr>
            <a:xfrm>
              <a:off x="12565252" y="5490943"/>
              <a:ext cx="1260000" cy="1260000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vert="horz" lIns="36000" tIns="36000" rIns="36000" bIns="36000" rtlCol="0" anchor="ctr"/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6B2334D-52D5-29A6-D6A9-CC15444E4E52}"/>
                </a:ext>
              </a:extLst>
            </p:cNvPr>
            <p:cNvSpPr/>
            <p:nvPr/>
          </p:nvSpPr>
          <p:spPr>
            <a:xfrm>
              <a:off x="4462749" y="2583726"/>
              <a:ext cx="1260000" cy="1260000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vert="horz" lIns="36000" tIns="36000" rIns="36000" bIns="36000" rtlCol="0" anchor="ctr"/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94ADAA5-436E-1F5D-9FC1-8C16290A6541}"/>
                </a:ext>
              </a:extLst>
            </p:cNvPr>
            <p:cNvSpPr/>
            <p:nvPr/>
          </p:nvSpPr>
          <p:spPr>
            <a:xfrm>
              <a:off x="4462749" y="5491039"/>
              <a:ext cx="1260000" cy="1260000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</p:spPr>
          <p:txBody>
            <a:bodyPr vert="horz" lIns="36000" tIns="36000" rIns="36000" bIns="36000" rtlCol="0" anchor="ctr"/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  <p:sp>
          <p:nvSpPr>
            <p:cNvPr id="42" name="TextBox 12">
              <a:extLst>
                <a:ext uri="{FF2B5EF4-FFF2-40B4-BE49-F238E27FC236}">
                  <a16:creationId xmlns:a16="http://schemas.microsoft.com/office/drawing/2014/main" id="{3313B3A9-1C25-DE4D-DD87-41F4AD8B2BC1}"/>
                </a:ext>
              </a:extLst>
            </p:cNvPr>
            <p:cNvSpPr txBox="1"/>
            <p:nvPr/>
          </p:nvSpPr>
          <p:spPr>
            <a:xfrm>
              <a:off x="714375" y="3057225"/>
              <a:ext cx="3359608" cy="16158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44" name="TextBox 12">
              <a:extLst>
                <a:ext uri="{FF2B5EF4-FFF2-40B4-BE49-F238E27FC236}">
                  <a16:creationId xmlns:a16="http://schemas.microsoft.com/office/drawing/2014/main" id="{350155C9-388D-1B5B-DE69-805A29CB9BAE}"/>
                </a:ext>
              </a:extLst>
            </p:cNvPr>
            <p:cNvSpPr txBox="1"/>
            <p:nvPr/>
          </p:nvSpPr>
          <p:spPr>
            <a:xfrm>
              <a:off x="14214017" y="3057225"/>
              <a:ext cx="3359608" cy="16158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45" name="TextBox 12">
              <a:extLst>
                <a:ext uri="{FF2B5EF4-FFF2-40B4-BE49-F238E27FC236}">
                  <a16:creationId xmlns:a16="http://schemas.microsoft.com/office/drawing/2014/main" id="{E29E3EFC-64E5-147D-221C-4CE4D7D03A7A}"/>
                </a:ext>
              </a:extLst>
            </p:cNvPr>
            <p:cNvSpPr txBox="1"/>
            <p:nvPr/>
          </p:nvSpPr>
          <p:spPr>
            <a:xfrm>
              <a:off x="714375" y="5964442"/>
              <a:ext cx="3359608" cy="16158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  <p:sp>
          <p:nvSpPr>
            <p:cNvPr id="46" name="TextBox 12">
              <a:extLst>
                <a:ext uri="{FF2B5EF4-FFF2-40B4-BE49-F238E27FC236}">
                  <a16:creationId xmlns:a16="http://schemas.microsoft.com/office/drawing/2014/main" id="{0E7D0852-9058-E362-B0DC-8BA9B83F14DD}"/>
                </a:ext>
              </a:extLst>
            </p:cNvPr>
            <p:cNvSpPr txBox="1"/>
            <p:nvPr/>
          </p:nvSpPr>
          <p:spPr>
            <a:xfrm>
              <a:off x="14214017" y="5964442"/>
              <a:ext cx="3359608" cy="16158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b="1" dirty="0">
                  <a:solidFill>
                    <a:schemeClr val="accent1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Heading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Lorem ipsum dolor sit amet, consectetur adipiscing elit, sed do eiusmod tempor incididunt ut labore et dolore 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A60F46-33C9-F0D5-7BE4-7C4EF42B3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8161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35</TotalTime>
  <Words>91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rocess Slide – Circular Process Diagra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45</cp:revision>
  <dcterms:created xsi:type="dcterms:W3CDTF">2006-08-16T00:00:00Z</dcterms:created>
  <dcterms:modified xsi:type="dcterms:W3CDTF">2025-10-06T09:40:07Z</dcterms:modified>
  <cp:category/>
  <dc:identifier>DAGkDf5R9EM</dc:identifier>
</cp:coreProperties>
</file>